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378" r:id="rId5"/>
  </p:sldIdLst>
  <p:sldSz cx="12239625" cy="6840538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08078C-178E-4EA3-BB31-ED502E8653E3}" v="68" dt="2021-02-09T11:34:50.6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68" autoAdjust="0"/>
    <p:restoredTop sz="95232" autoAdjust="0"/>
  </p:normalViewPr>
  <p:slideViewPr>
    <p:cSldViewPr showGuides="1">
      <p:cViewPr varScale="1">
        <p:scale>
          <a:sx n="88" d="100"/>
          <a:sy n="88" d="100"/>
        </p:scale>
        <p:origin x="66" y="78"/>
      </p:cViewPr>
      <p:guideLst/>
    </p:cSldViewPr>
  </p:slideViewPr>
  <p:notesTextViewPr>
    <p:cViewPr>
      <p:scale>
        <a:sx n="85" d="100"/>
        <a:sy n="85" d="100"/>
      </p:scale>
      <p:origin x="0" y="0"/>
    </p:cViewPr>
  </p:notesTextViewPr>
  <p:notesViewPr>
    <p:cSldViewPr>
      <p:cViewPr varScale="1">
        <p:scale>
          <a:sx n="148" d="100"/>
          <a:sy n="148" d="100"/>
        </p:scale>
        <p:origin x="535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mble,D,Damian,SCJ R" userId="0dba2f7c-9913-4f7c-8ee3-73ea7ff83b4e" providerId="ADAL" clId="{FB08078C-178E-4EA3-BB31-ED502E8653E3}"/>
    <pc:docChg chg="custSel modSld">
      <pc:chgData name="Rumble,D,Damian,SCJ R" userId="0dba2f7c-9913-4f7c-8ee3-73ea7ff83b4e" providerId="ADAL" clId="{FB08078C-178E-4EA3-BB31-ED502E8653E3}" dt="2021-02-09T13:01:56.606" v="1" actId="478"/>
      <pc:docMkLst>
        <pc:docMk/>
      </pc:docMkLst>
      <pc:sldChg chg="addSp delSp">
        <pc:chgData name="Rumble,D,Damian,SCJ R" userId="0dba2f7c-9913-4f7c-8ee3-73ea7ff83b4e" providerId="ADAL" clId="{FB08078C-178E-4EA3-BB31-ED502E8653E3}" dt="2021-02-09T13:01:56.606" v="1" actId="478"/>
        <pc:sldMkLst>
          <pc:docMk/>
          <pc:sldMk cId="1337199405" sldId="378"/>
        </pc:sldMkLst>
        <pc:spChg chg="add del">
          <ac:chgData name="Rumble,D,Damian,SCJ R" userId="0dba2f7c-9913-4f7c-8ee3-73ea7ff83b4e" providerId="ADAL" clId="{FB08078C-178E-4EA3-BB31-ED502E8653E3}" dt="2021-02-09T13:01:56.606" v="1" actId="478"/>
          <ac:spMkLst>
            <pc:docMk/>
            <pc:sldMk cId="1337199405" sldId="378"/>
            <ac:spMk id="2" creationId="{6ED23B85-EB84-4C7D-9182-82350FA4D217}"/>
          </ac:spMkLst>
        </pc:spChg>
      </pc:sldChg>
    </pc:docChg>
  </pc:docChgLst>
  <pc:docChgLst>
    <pc:chgData name="Rumble,D,Damian,SCJ R" userId="0dba2f7c-9913-4f7c-8ee3-73ea7ff83b4e" providerId="ADAL" clId="{1C272EF5-3C8E-4A17-8C8A-CA3226E496EF}"/>
    <pc:docChg chg="undo custSel modSld">
      <pc:chgData name="Rumble,D,Damian,SCJ R" userId="0dba2f7c-9913-4f7c-8ee3-73ea7ff83b4e" providerId="ADAL" clId="{1C272EF5-3C8E-4A17-8C8A-CA3226E496EF}" dt="2021-02-05T16:26:56.167" v="2987" actId="14100"/>
      <pc:docMkLst>
        <pc:docMk/>
      </pc:docMkLst>
      <pc:sldChg chg="addSp delSp modSp">
        <pc:chgData name="Rumble,D,Damian,SCJ R" userId="0dba2f7c-9913-4f7c-8ee3-73ea7ff83b4e" providerId="ADAL" clId="{1C272EF5-3C8E-4A17-8C8A-CA3226E496EF}" dt="2021-02-05T16:26:56.167" v="2987" actId="14100"/>
        <pc:sldMkLst>
          <pc:docMk/>
          <pc:sldMk cId="1337199405" sldId="378"/>
        </pc:sldMkLst>
        <pc:spChg chg="mod ord">
          <ac:chgData name="Rumble,D,Damian,SCJ R" userId="0dba2f7c-9913-4f7c-8ee3-73ea7ff83b4e" providerId="ADAL" clId="{1C272EF5-3C8E-4A17-8C8A-CA3226E496EF}" dt="2021-02-03T12:29:12.249" v="790" actId="166"/>
          <ac:spMkLst>
            <pc:docMk/>
            <pc:sldMk cId="1337199405" sldId="378"/>
            <ac:spMk id="5" creationId="{488CFE26-AE41-4ECD-92C7-8D12E56886AE}"/>
          </ac:spMkLst>
        </pc:spChg>
        <pc:spChg chg="add mod ord">
          <ac:chgData name="Rumble,D,Damian,SCJ R" userId="0dba2f7c-9913-4f7c-8ee3-73ea7ff83b4e" providerId="ADAL" clId="{1C272EF5-3C8E-4A17-8C8A-CA3226E496EF}" dt="2021-02-04T11:00:56.345" v="2737" actId="20577"/>
          <ac:spMkLst>
            <pc:docMk/>
            <pc:sldMk cId="1337199405" sldId="378"/>
            <ac:spMk id="7" creationId="{7008251F-B429-44F3-B351-A7742E3199E0}"/>
          </ac:spMkLst>
        </pc:spChg>
        <pc:spChg chg="mod">
          <ac:chgData name="Rumble,D,Damian,SCJ R" userId="0dba2f7c-9913-4f7c-8ee3-73ea7ff83b4e" providerId="ADAL" clId="{1C272EF5-3C8E-4A17-8C8A-CA3226E496EF}" dt="2021-02-05T16:26:19.206" v="2978" actId="1035"/>
          <ac:spMkLst>
            <pc:docMk/>
            <pc:sldMk cId="1337199405" sldId="378"/>
            <ac:spMk id="8" creationId="{ECBF53A6-5B6E-433B-8F17-5CF60D176D2F}"/>
          </ac:spMkLst>
        </pc:spChg>
        <pc:spChg chg="add mod">
          <ac:chgData name="Rumble,D,Damian,SCJ R" userId="0dba2f7c-9913-4f7c-8ee3-73ea7ff83b4e" providerId="ADAL" clId="{1C272EF5-3C8E-4A17-8C8A-CA3226E496EF}" dt="2021-02-03T12:27:50.833" v="777" actId="164"/>
          <ac:spMkLst>
            <pc:docMk/>
            <pc:sldMk cId="1337199405" sldId="378"/>
            <ac:spMk id="19" creationId="{D84D247F-249B-45CF-B66A-050609412220}"/>
          </ac:spMkLst>
        </pc:spChg>
        <pc:spChg chg="add mod ord">
          <ac:chgData name="Rumble,D,Damian,SCJ R" userId="0dba2f7c-9913-4f7c-8ee3-73ea7ff83b4e" providerId="ADAL" clId="{1C272EF5-3C8E-4A17-8C8A-CA3226E496EF}" dt="2021-02-05T16:26:46.611" v="2986" actId="167"/>
          <ac:spMkLst>
            <pc:docMk/>
            <pc:sldMk cId="1337199405" sldId="378"/>
            <ac:spMk id="30" creationId="{B0134669-C351-4B4A-9DA9-78B75F4122B9}"/>
          </ac:spMkLst>
        </pc:spChg>
        <pc:spChg chg="add mod ord">
          <ac:chgData name="Rumble,D,Damian,SCJ R" userId="0dba2f7c-9913-4f7c-8ee3-73ea7ff83b4e" providerId="ADAL" clId="{1C272EF5-3C8E-4A17-8C8A-CA3226E496EF}" dt="2021-02-05T16:26:46.611" v="2986" actId="167"/>
          <ac:spMkLst>
            <pc:docMk/>
            <pc:sldMk cId="1337199405" sldId="378"/>
            <ac:spMk id="31" creationId="{0CC68242-55C0-47AB-A235-8FC6B9E506A7}"/>
          </ac:spMkLst>
        </pc:spChg>
        <pc:spChg chg="del">
          <ac:chgData name="Rumble,D,Damian,SCJ R" userId="0dba2f7c-9913-4f7c-8ee3-73ea7ff83b4e" providerId="ADAL" clId="{1C272EF5-3C8E-4A17-8C8A-CA3226E496EF}" dt="2021-02-03T10:10:52.293" v="2" actId="478"/>
          <ac:spMkLst>
            <pc:docMk/>
            <pc:sldMk cId="1337199405" sldId="378"/>
            <ac:spMk id="32" creationId="{F8FC21B6-8719-4606-AB35-6FE19D0519DB}"/>
          </ac:spMkLst>
        </pc:spChg>
        <pc:spChg chg="del">
          <ac:chgData name="Rumble,D,Damian,SCJ R" userId="0dba2f7c-9913-4f7c-8ee3-73ea7ff83b4e" providerId="ADAL" clId="{1C272EF5-3C8E-4A17-8C8A-CA3226E496EF}" dt="2021-02-03T10:10:54.354" v="3" actId="478"/>
          <ac:spMkLst>
            <pc:docMk/>
            <pc:sldMk cId="1337199405" sldId="378"/>
            <ac:spMk id="33" creationId="{44F1502D-1A15-4B98-B223-C69367C0D840}"/>
          </ac:spMkLst>
        </pc:spChg>
        <pc:spChg chg="del">
          <ac:chgData name="Rumble,D,Damian,SCJ R" userId="0dba2f7c-9913-4f7c-8ee3-73ea7ff83b4e" providerId="ADAL" clId="{1C272EF5-3C8E-4A17-8C8A-CA3226E496EF}" dt="2021-02-03T10:10:56.983" v="5" actId="478"/>
          <ac:spMkLst>
            <pc:docMk/>
            <pc:sldMk cId="1337199405" sldId="378"/>
            <ac:spMk id="34" creationId="{C788A445-7141-4225-9718-77064CF53223}"/>
          </ac:spMkLst>
        </pc:spChg>
        <pc:spChg chg="del">
          <ac:chgData name="Rumble,D,Damian,SCJ R" userId="0dba2f7c-9913-4f7c-8ee3-73ea7ff83b4e" providerId="ADAL" clId="{1C272EF5-3C8E-4A17-8C8A-CA3226E496EF}" dt="2021-02-03T10:10:55.520" v="4" actId="478"/>
          <ac:spMkLst>
            <pc:docMk/>
            <pc:sldMk cId="1337199405" sldId="378"/>
            <ac:spMk id="35" creationId="{DC262113-798C-4EC0-88A4-2BDFD6781DFA}"/>
          </ac:spMkLst>
        </pc:spChg>
        <pc:spChg chg="mod">
          <ac:chgData name="Rumble,D,Damian,SCJ R" userId="0dba2f7c-9913-4f7c-8ee3-73ea7ff83b4e" providerId="ADAL" clId="{1C272EF5-3C8E-4A17-8C8A-CA3226E496EF}" dt="2021-02-03T10:10:49.902" v="1" actId="1076"/>
          <ac:spMkLst>
            <pc:docMk/>
            <pc:sldMk cId="1337199405" sldId="378"/>
            <ac:spMk id="36" creationId="{9D82A139-9B7D-4804-95E8-26049183A1BD}"/>
          </ac:spMkLst>
        </pc:spChg>
        <pc:spChg chg="add mod ord">
          <ac:chgData name="Rumble,D,Damian,SCJ R" userId="0dba2f7c-9913-4f7c-8ee3-73ea7ff83b4e" providerId="ADAL" clId="{1C272EF5-3C8E-4A17-8C8A-CA3226E496EF}" dt="2021-02-05T16:26:46.611" v="2986" actId="167"/>
          <ac:spMkLst>
            <pc:docMk/>
            <pc:sldMk cId="1337199405" sldId="378"/>
            <ac:spMk id="37" creationId="{0A0B30E0-E828-4B61-8322-DFD20EAC2524}"/>
          </ac:spMkLst>
        </pc:spChg>
        <pc:spChg chg="add mod">
          <ac:chgData name="Rumble,D,Damian,SCJ R" userId="0dba2f7c-9913-4f7c-8ee3-73ea7ff83b4e" providerId="ADAL" clId="{1C272EF5-3C8E-4A17-8C8A-CA3226E496EF}" dt="2021-02-04T15:28:53.368" v="2945" actId="20577"/>
          <ac:spMkLst>
            <pc:docMk/>
            <pc:sldMk cId="1337199405" sldId="378"/>
            <ac:spMk id="38" creationId="{DE63FB1C-1F1D-4A47-B7ED-8B9874933F3C}"/>
          </ac:spMkLst>
        </pc:spChg>
        <pc:spChg chg="add del mod">
          <ac:chgData name="Rumble,D,Damian,SCJ R" userId="0dba2f7c-9913-4f7c-8ee3-73ea7ff83b4e" providerId="ADAL" clId="{1C272EF5-3C8E-4A17-8C8A-CA3226E496EF}" dt="2021-02-03T13:05:44.565" v="2209" actId="478"/>
          <ac:spMkLst>
            <pc:docMk/>
            <pc:sldMk cId="1337199405" sldId="378"/>
            <ac:spMk id="39" creationId="{16B66B9F-1C41-4A49-B452-053B0BEF9FBD}"/>
          </ac:spMkLst>
        </pc:spChg>
        <pc:spChg chg="add mod">
          <ac:chgData name="Rumble,D,Damian,SCJ R" userId="0dba2f7c-9913-4f7c-8ee3-73ea7ff83b4e" providerId="ADAL" clId="{1C272EF5-3C8E-4A17-8C8A-CA3226E496EF}" dt="2021-02-03T13:06:45.169" v="2255" actId="14100"/>
          <ac:spMkLst>
            <pc:docMk/>
            <pc:sldMk cId="1337199405" sldId="378"/>
            <ac:spMk id="40" creationId="{CC11E74E-E1BF-459D-BC00-EC053E41EFAB}"/>
          </ac:spMkLst>
        </pc:spChg>
        <pc:spChg chg="add mod">
          <ac:chgData name="Rumble,D,Damian,SCJ R" userId="0dba2f7c-9913-4f7c-8ee3-73ea7ff83b4e" providerId="ADAL" clId="{1C272EF5-3C8E-4A17-8C8A-CA3226E496EF}" dt="2021-02-03T13:07:02.905" v="2258" actId="14100"/>
          <ac:spMkLst>
            <pc:docMk/>
            <pc:sldMk cId="1337199405" sldId="378"/>
            <ac:spMk id="41" creationId="{F5203FF0-BED4-4AC0-BB99-C40E3C5ADF12}"/>
          </ac:spMkLst>
        </pc:spChg>
        <pc:spChg chg="add del">
          <ac:chgData name="Rumble,D,Damian,SCJ R" userId="0dba2f7c-9913-4f7c-8ee3-73ea7ff83b4e" providerId="ADAL" clId="{1C272EF5-3C8E-4A17-8C8A-CA3226E496EF}" dt="2021-02-03T13:07:27.557" v="2261"/>
          <ac:spMkLst>
            <pc:docMk/>
            <pc:sldMk cId="1337199405" sldId="378"/>
            <ac:spMk id="42" creationId="{236DC16F-08A1-497A-BC30-80BA208D028E}"/>
          </ac:spMkLst>
        </pc:spChg>
        <pc:spChg chg="add mod">
          <ac:chgData name="Rumble,D,Damian,SCJ R" userId="0dba2f7c-9913-4f7c-8ee3-73ea7ff83b4e" providerId="ADAL" clId="{1C272EF5-3C8E-4A17-8C8A-CA3226E496EF}" dt="2021-02-03T13:07:54.303" v="2281" actId="1038"/>
          <ac:spMkLst>
            <pc:docMk/>
            <pc:sldMk cId="1337199405" sldId="378"/>
            <ac:spMk id="43" creationId="{2CE54254-F921-4A35-B293-4D74C529EE5F}"/>
          </ac:spMkLst>
        </pc:spChg>
        <pc:spChg chg="add mod">
          <ac:chgData name="Rumble,D,Damian,SCJ R" userId="0dba2f7c-9913-4f7c-8ee3-73ea7ff83b4e" providerId="ADAL" clId="{1C272EF5-3C8E-4A17-8C8A-CA3226E496EF}" dt="2021-02-03T13:10:50.384" v="2365" actId="1076"/>
          <ac:spMkLst>
            <pc:docMk/>
            <pc:sldMk cId="1337199405" sldId="378"/>
            <ac:spMk id="44" creationId="{D80A1825-BB86-48D9-9BED-B0B462E642E5}"/>
          </ac:spMkLst>
        </pc:spChg>
        <pc:spChg chg="add mod">
          <ac:chgData name="Rumble,D,Damian,SCJ R" userId="0dba2f7c-9913-4f7c-8ee3-73ea7ff83b4e" providerId="ADAL" clId="{1C272EF5-3C8E-4A17-8C8A-CA3226E496EF}" dt="2021-02-03T13:09:41.880" v="2342" actId="1076"/>
          <ac:spMkLst>
            <pc:docMk/>
            <pc:sldMk cId="1337199405" sldId="378"/>
            <ac:spMk id="45" creationId="{6B25985B-FC4C-48E1-AC3D-0E23B601C327}"/>
          </ac:spMkLst>
        </pc:spChg>
        <pc:grpChg chg="mod">
          <ac:chgData name="Rumble,D,Damian,SCJ R" userId="0dba2f7c-9913-4f7c-8ee3-73ea7ff83b4e" providerId="ADAL" clId="{1C272EF5-3C8E-4A17-8C8A-CA3226E496EF}" dt="2021-02-04T10:28:18.744" v="2602" actId="1076"/>
          <ac:grpSpMkLst>
            <pc:docMk/>
            <pc:sldMk cId="1337199405" sldId="378"/>
            <ac:grpSpMk id="6" creationId="{54C7EF96-8B3A-4E40-A2EE-73CCCA49B0F8}"/>
          </ac:grpSpMkLst>
        </pc:grpChg>
        <pc:grpChg chg="add del mod">
          <ac:chgData name="Rumble,D,Damian,SCJ R" userId="0dba2f7c-9913-4f7c-8ee3-73ea7ff83b4e" providerId="ADAL" clId="{1C272EF5-3C8E-4A17-8C8A-CA3226E496EF}" dt="2021-02-04T14:59:25.917" v="2774" actId="478"/>
          <ac:grpSpMkLst>
            <pc:docMk/>
            <pc:sldMk cId="1337199405" sldId="378"/>
            <ac:grpSpMk id="9" creationId="{BF536596-B503-4AB0-85AA-2FA6AD5EF6AD}"/>
          </ac:grpSpMkLst>
        </pc:grpChg>
        <pc:grpChg chg="add mod ord">
          <ac:chgData name="Rumble,D,Damian,SCJ R" userId="0dba2f7c-9913-4f7c-8ee3-73ea7ff83b4e" providerId="ADAL" clId="{1C272EF5-3C8E-4A17-8C8A-CA3226E496EF}" dt="2021-02-05T16:26:56.167" v="2987" actId="14100"/>
          <ac:grpSpMkLst>
            <pc:docMk/>
            <pc:sldMk cId="1337199405" sldId="378"/>
            <ac:grpSpMk id="48" creationId="{8BE945D1-0941-412B-9E99-DE2171C11583}"/>
          </ac:grpSpMkLst>
        </pc:grpChg>
        <pc:picChg chg="add del mod">
          <ac:chgData name="Rumble,D,Damian,SCJ R" userId="0dba2f7c-9913-4f7c-8ee3-73ea7ff83b4e" providerId="ADAL" clId="{1C272EF5-3C8E-4A17-8C8A-CA3226E496EF}" dt="2021-02-03T12:28:49.584" v="781" actId="478"/>
          <ac:picMkLst>
            <pc:docMk/>
            <pc:sldMk cId="1337199405" sldId="378"/>
            <ac:picMk id="3" creationId="{21CC8803-7FFF-4AA1-938F-135958AEA85C}"/>
          </ac:picMkLst>
        </pc:picChg>
        <pc:picChg chg="add del mod">
          <ac:chgData name="Rumble,D,Damian,SCJ R" userId="0dba2f7c-9913-4f7c-8ee3-73ea7ff83b4e" providerId="ADAL" clId="{1C272EF5-3C8E-4A17-8C8A-CA3226E496EF}" dt="2021-02-03T13:00:20.663" v="2149" actId="478"/>
          <ac:picMkLst>
            <pc:docMk/>
            <pc:sldMk cId="1337199405" sldId="378"/>
            <ac:picMk id="11" creationId="{D705417A-E14F-41D8-B16D-F7740ED15B66}"/>
          </ac:picMkLst>
        </pc:picChg>
        <pc:picChg chg="del">
          <ac:chgData name="Rumble,D,Damian,SCJ R" userId="0dba2f7c-9913-4f7c-8ee3-73ea7ff83b4e" providerId="ADAL" clId="{1C272EF5-3C8E-4A17-8C8A-CA3226E496EF}" dt="2021-02-03T10:10:48.479" v="0" actId="478"/>
          <ac:picMkLst>
            <pc:docMk/>
            <pc:sldMk cId="1337199405" sldId="378"/>
            <ac:picMk id="14" creationId="{143E33EE-1A33-482F-80C2-52E7872CE8A0}"/>
          </ac:picMkLst>
        </pc:picChg>
        <pc:picChg chg="add del mod modCrop">
          <ac:chgData name="Rumble,D,Damian,SCJ R" userId="0dba2f7c-9913-4f7c-8ee3-73ea7ff83b4e" providerId="ADAL" clId="{1C272EF5-3C8E-4A17-8C8A-CA3226E496EF}" dt="2021-02-03T12:38:30.293" v="1073" actId="478"/>
          <ac:picMkLst>
            <pc:docMk/>
            <pc:sldMk cId="1337199405" sldId="378"/>
            <ac:picMk id="15" creationId="{3E683181-DCFF-415C-A410-7990D454AA35}"/>
          </ac:picMkLst>
        </pc:picChg>
        <pc:picChg chg="del">
          <ac:chgData name="Rumble,D,Damian,SCJ R" userId="0dba2f7c-9913-4f7c-8ee3-73ea7ff83b4e" providerId="ADAL" clId="{1C272EF5-3C8E-4A17-8C8A-CA3226E496EF}" dt="2021-02-03T10:10:48.479" v="0" actId="478"/>
          <ac:picMkLst>
            <pc:docMk/>
            <pc:sldMk cId="1337199405" sldId="378"/>
            <ac:picMk id="17" creationId="{034F406B-0935-4CCF-BA72-07934190064E}"/>
          </ac:picMkLst>
        </pc:picChg>
        <pc:picChg chg="add mod">
          <ac:chgData name="Rumble,D,Damian,SCJ R" userId="0dba2f7c-9913-4f7c-8ee3-73ea7ff83b4e" providerId="ADAL" clId="{1C272EF5-3C8E-4A17-8C8A-CA3226E496EF}" dt="2021-02-03T12:27:50.833" v="777" actId="164"/>
          <ac:picMkLst>
            <pc:docMk/>
            <pc:sldMk cId="1337199405" sldId="378"/>
            <ac:picMk id="18" creationId="{4F00E6F7-EC2B-49A8-8D44-1FF07E5B7794}"/>
          </ac:picMkLst>
        </pc:picChg>
        <pc:picChg chg="add mod">
          <ac:chgData name="Rumble,D,Damian,SCJ R" userId="0dba2f7c-9913-4f7c-8ee3-73ea7ff83b4e" providerId="ADAL" clId="{1C272EF5-3C8E-4A17-8C8A-CA3226E496EF}" dt="2021-02-03T13:09:49.743" v="2343" actId="1036"/>
          <ac:picMkLst>
            <pc:docMk/>
            <pc:sldMk cId="1337199405" sldId="378"/>
            <ac:picMk id="20" creationId="{314F673C-1663-4C9F-ADD8-BA4782DBECD2}"/>
          </ac:picMkLst>
        </pc:picChg>
        <pc:picChg chg="del">
          <ac:chgData name="Rumble,D,Damian,SCJ R" userId="0dba2f7c-9913-4f7c-8ee3-73ea7ff83b4e" providerId="ADAL" clId="{1C272EF5-3C8E-4A17-8C8A-CA3226E496EF}" dt="2021-02-03T10:10:48.479" v="0" actId="478"/>
          <ac:picMkLst>
            <pc:docMk/>
            <pc:sldMk cId="1337199405" sldId="378"/>
            <ac:picMk id="21" creationId="{18352BA7-1221-4884-90F5-F6E2493E72F6}"/>
          </ac:picMkLst>
        </pc:picChg>
        <pc:picChg chg="add del mod">
          <ac:chgData name="Rumble,D,Damian,SCJ R" userId="0dba2f7c-9913-4f7c-8ee3-73ea7ff83b4e" providerId="ADAL" clId="{1C272EF5-3C8E-4A17-8C8A-CA3226E496EF}" dt="2021-02-03T13:01:39.691" v="2156" actId="478"/>
          <ac:picMkLst>
            <pc:docMk/>
            <pc:sldMk cId="1337199405" sldId="378"/>
            <ac:picMk id="23" creationId="{DAD6D3CF-024B-47B7-BD61-0AB1F14C405C}"/>
          </ac:picMkLst>
        </pc:picChg>
        <pc:picChg chg="del">
          <ac:chgData name="Rumble,D,Damian,SCJ R" userId="0dba2f7c-9913-4f7c-8ee3-73ea7ff83b4e" providerId="ADAL" clId="{1C272EF5-3C8E-4A17-8C8A-CA3226E496EF}" dt="2021-02-03T10:10:48.479" v="0" actId="478"/>
          <ac:picMkLst>
            <pc:docMk/>
            <pc:sldMk cId="1337199405" sldId="378"/>
            <ac:picMk id="24" creationId="{2149A50A-F16A-4863-B259-AFAA241043B7}"/>
          </ac:picMkLst>
        </pc:picChg>
        <pc:picChg chg="add del mod">
          <ac:chgData name="Rumble,D,Damian,SCJ R" userId="0dba2f7c-9913-4f7c-8ee3-73ea7ff83b4e" providerId="ADAL" clId="{1C272EF5-3C8E-4A17-8C8A-CA3226E496EF}" dt="2021-02-03T13:03:13.781" v="2171" actId="478"/>
          <ac:picMkLst>
            <pc:docMk/>
            <pc:sldMk cId="1337199405" sldId="378"/>
            <ac:picMk id="26" creationId="{F552B9E5-A6F3-4234-A58A-0587F54661B9}"/>
          </ac:picMkLst>
        </pc:picChg>
        <pc:picChg chg="add mod">
          <ac:chgData name="Rumble,D,Damian,SCJ R" userId="0dba2f7c-9913-4f7c-8ee3-73ea7ff83b4e" providerId="ADAL" clId="{1C272EF5-3C8E-4A17-8C8A-CA3226E496EF}" dt="2021-02-03T13:04:55.532" v="2196" actId="1076"/>
          <ac:picMkLst>
            <pc:docMk/>
            <pc:sldMk cId="1337199405" sldId="378"/>
            <ac:picMk id="28" creationId="{11E0856F-8B02-42AC-B44C-5588147E04BB}"/>
          </ac:picMkLst>
        </pc:picChg>
        <pc:picChg chg="add del mod ord">
          <ac:chgData name="Rumble,D,Damian,SCJ R" userId="0dba2f7c-9913-4f7c-8ee3-73ea7ff83b4e" providerId="ADAL" clId="{1C272EF5-3C8E-4A17-8C8A-CA3226E496EF}" dt="2021-02-05T15:45:50.990" v="2946" actId="478"/>
          <ac:picMkLst>
            <pc:docMk/>
            <pc:sldMk cId="1337199405" sldId="378"/>
            <ac:picMk id="47" creationId="{8AB07561-D0A5-4076-A5C6-363E3C414DD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266EBB-0E58-47B2-8EA8-A694003FD0F2}" type="datetimeFigureOut">
              <a:rPr lang="en-GB" smtClean="0"/>
              <a:t>08/0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8338" y="1143000"/>
            <a:ext cx="55213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C50299-5D49-4341-93C4-E566547632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434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4EA6B-1F4E-1748-9DFB-842B8DC29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27" b="12444"/>
          <a:stretch/>
        </p:blipFill>
        <p:spPr>
          <a:xfrm>
            <a:off x="0" y="-1"/>
            <a:ext cx="12600534" cy="6840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938444"/>
            <a:ext cx="7127964" cy="1193793"/>
          </a:xfrm>
        </p:spPr>
        <p:txBody>
          <a:bodyPr/>
          <a:lstStyle>
            <a:lvl1pPr algn="l">
              <a:lnSpc>
                <a:spcPct val="85000"/>
              </a:lnSpc>
              <a:defRPr sz="50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Title slid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FC4421-71DD-44B2-B3F2-5C65C035B4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72" y="466353"/>
            <a:ext cx="1007678" cy="990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FFE57-5E03-4A9F-8E0E-56AEDAB9863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83508" y="6318000"/>
            <a:ext cx="7344416" cy="262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82F31-2784-EB48-9BE0-A2A28CAF38A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3696F5-6BA6-A54F-97D1-6FA9EAA4C3C8}" type="datetime8">
              <a:rPr lang="en-GB" smtClean="0"/>
              <a:t>08/02/2021 17:19</a:t>
            </a:fld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D14EFC0A-929F-8B4C-A8D5-7D356DE9F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DD46587-7E96-6E44-AA46-A9A4F42A9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350174"/>
            <a:ext cx="5615796" cy="718167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5303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567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0000" y="2012950"/>
            <a:ext cx="567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B516AB9-F8AF-884B-97D5-839AB9A41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DA3B8D-AD23-5342-9E5E-AFCB705A30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0F82C1-D339-8F45-AEBE-0364CBA58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79F45F-DB97-5D4D-B518-CF0144150AD9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135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828000"/>
            <a:ext cx="7619400" cy="79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37188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0600" y="2012950"/>
            <a:ext cx="37188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161200" y="2012950"/>
            <a:ext cx="3718800" cy="36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47A9EFD-9046-B74C-8221-44A8B4B5D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CC85C5-98C9-F340-AACC-99F93146B92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98972BA-FC02-3C40-942B-024089F90D7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D417C0-B5BD-7241-BD9C-349CCE3676AE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933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9B354AE-7652-4BAF-B8D5-6606531144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0"/>
            <a:ext cx="6120000" cy="6192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6410C1F-718E-484A-AF17-8FAC48E81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8F1F1-78F4-414E-A13C-D2CDC2F493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497399-4D34-F141-8F35-1BB5851D494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FA4342F-CAD5-9D45-ADBD-192DADC515DB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9807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Landscap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35A9AE-09A5-490F-8FA9-56997A9CD8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56929E-2779-4685-B9F6-29B8DD163C6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23F891C-6BAF-9541-941C-F1E20C3F9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6DEFA-1BEF-6B46-A02F-39786BBDC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77F56FC-EBA8-344F-A922-4AA3E6B2B81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429A84A-6A61-8148-A97E-E0A771C9A1A3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98254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35A9AE-09A5-490F-8FA9-56997A9CD8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417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56929E-2779-4685-B9F6-29B8DD163C6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4176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8FF3DD65-4A0B-D240-9541-3D7192386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C0F6CB-95C2-9242-9007-9A88BB8A93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D1B82C9-5C57-034B-B299-9689009DC8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E75CCAC-19D0-3F48-87BC-1D380F474897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2941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F95CA88-6E93-41FD-95E1-3CBCD82500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417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465383E4-9B0A-43BD-B164-89BFC7F626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4BD122D-3F9A-4C09-96ED-16A8A704A6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80000" y="4104000"/>
            <a:ext cx="3060000" cy="208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7113D4FE-C9FD-D440-9DF5-E485B502D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375438-2D15-5247-8901-EF46DA883F8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5C635E-0635-9249-8016-5F5139D14B1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000980E-9E68-CC45-87B7-3ADE4ED86C1B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59675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19ADD48-2F68-4A7D-B3D5-09506162F0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9812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2FDE75D-1A2E-4FEF-A937-A4B0B83683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79812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165A44F-D4D9-4418-BCC7-5D6794ADD66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9812" y="4104000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24E8C0B8-E7AD-48AC-9F2D-D3FAE258D4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79812" y="4104000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7911CBF6-61CF-AE45-9D1D-45F0D9051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07934-685E-4245-B833-56D2567B8E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69EA9E-370C-6F4C-B876-8FAF992E603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08AC9B-99B8-9944-9B50-7FD1B236E8DA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4207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19ADD48-2F68-4A7D-B3D5-09506162F0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9625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2FDE75D-1A2E-4FEF-A937-A4B0B83683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79625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165A44F-D4D9-4418-BCC7-5D6794ADD66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9625" y="4104000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24E8C0B8-E7AD-48AC-9F2D-D3FAE258D4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79625" y="4104000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46C904F7-0F2F-46DC-BA66-0D68CDFECEF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19625" y="0"/>
            <a:ext cx="3060000" cy="2016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1CA9665E-123B-4D3C-9EDE-EB2A0CF3CDE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79625" y="0"/>
            <a:ext cx="3060000" cy="201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4BAC3B3D-2C97-984F-BD8D-5650480CA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3A536E-BB8E-494C-8E45-044DF9430B4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DFC9CA-EB31-3B4B-8FDB-D8DEBFF15ED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9684784-F41D-5C47-AFBB-5C55C938AF8E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760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61A7C17-1FCA-458C-A9D5-EB02358F0E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12240000" cy="6192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1F8E359-4E11-0346-8EDA-B01AFB836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7E07E3-ACF6-2E47-A79A-89E873FFEE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610F19-0BB1-D24F-BBBA-1FA75BE50EC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9F44B3C-8FDE-F741-A126-60192D727799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8679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7C8F708-C845-439A-92CC-54BE775250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476000"/>
            <a:ext cx="12240000" cy="4716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756E21D-1E4B-3440-8373-00317E10A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1B1A90-3574-C34C-81A6-72A232878A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33B244-CE3E-B64C-B070-DFAB2406950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368B80-88E0-FE44-80E8-62C3E3F0613E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678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000" y="2016000"/>
            <a:ext cx="5615796" cy="900000"/>
          </a:xfrm>
        </p:spPr>
        <p:txBody>
          <a:bodyPr/>
          <a:lstStyle>
            <a:lvl1pPr algn="l">
              <a:lnSpc>
                <a:spcPct val="85000"/>
              </a:lnSpc>
              <a:defRPr sz="32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2988000"/>
            <a:ext cx="5615796" cy="718167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dat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FC4421-71DD-44B2-B3F2-5C65C035B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0" y="345600"/>
            <a:ext cx="1007678" cy="990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FFE57-5E03-4A9F-8E0E-56AEDAB9863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127924" y="6318000"/>
            <a:ext cx="3600000" cy="2628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SECURITY CLASSIFICATION. PUBLISHED VERSION. OWNER'S NAME.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DDEE7E-2489-464D-B7CA-5828573183EA}"/>
              </a:ext>
            </a:extLst>
          </p:cNvPr>
          <p:cNvSpPr/>
          <p:nvPr userDrawn="1"/>
        </p:nvSpPr>
        <p:spPr>
          <a:xfrm>
            <a:off x="11160000" y="6192000"/>
            <a:ext cx="8640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7BEA481-AFB0-401E-BA9B-EB82B4E16F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000" y="0"/>
            <a:ext cx="6120000" cy="68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8D5D96-F008-F346-901C-B48B035BAB7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E618AD-EEE3-1B4E-801B-57908FEC0D19}" type="datetime8">
              <a:rPr lang="en-GB" smtClean="0"/>
              <a:t>08/02/2021 17:19</a:t>
            </a:fld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F029A75-5C13-1C42-8DFF-291E48E64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3893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larg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7C8F708-C845-439A-92CC-54BE775250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476000"/>
            <a:ext cx="6120000" cy="4716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139E5E-A22B-4F21-B007-3DE51F6481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9625" y="1476000"/>
            <a:ext cx="6120000" cy="4716000"/>
          </a:xfrm>
          <a:solidFill>
            <a:schemeClr val="bg1">
              <a:lumMod val="8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2289E0EB-215A-DA44-95C8-18D220080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94B8D3-8F91-2449-928A-5C78907E1D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C9E27D-8FAE-CE4D-B0B6-876DC20E0F4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43B58A0-310E-1D4F-AD6A-1133D1C8D70F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553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45E0592-16A3-6C47-B3F4-79A4DADC8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9C3A19-1701-CB41-A94D-A971F4EFFE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B8CD5E-6DDE-F843-A2ED-735B3D5D1AD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D624208-EA8E-EF41-B3CA-D8FA738CCB46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23388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396691-2E15-1441-A233-0E4AEF82218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5052D3-6940-674E-A3F5-3E2F0C7B04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E87A84-C8C3-3F48-984D-B26B0DA8E6AE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2856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6ECA2DA-C317-CB40-89FE-CBD5A23397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FD2530A-56F5-44CF-9F8B-0651CCF6D0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251" y="2710800"/>
            <a:ext cx="1447392" cy="1422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1B30074-3AA9-914C-AD7C-4672820CE5E3}"/>
              </a:ext>
            </a:extLst>
          </p:cNvPr>
          <p:cNvSpPr txBox="1"/>
          <p:nvPr userDrawn="1"/>
        </p:nvSpPr>
        <p:spPr>
          <a:xfrm>
            <a:off x="9933186" y="6316691"/>
            <a:ext cx="2160000" cy="26181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1000" b="1" i="0" dirty="0">
                <a:solidFill>
                  <a:schemeClr val="bg1"/>
                </a:solidFill>
                <a:latin typeface="Century Gothic" panose="020B0502020202020204" pitchFamily="34" charset="0"/>
              </a:rPr>
              <a:t>© British Telecommunications plc</a:t>
            </a:r>
          </a:p>
        </p:txBody>
      </p:sp>
    </p:spTree>
    <p:extLst>
      <p:ext uri="{BB962C8B-B14F-4D97-AF65-F5344CB8AC3E}">
        <p14:creationId xmlns:p14="http://schemas.microsoft.com/office/powerpoint/2010/main" val="36957288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large text) (pin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8F0A9E4-24A8-CB48-803B-25B8742B5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5" cy="684053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FCE3314-74F0-4E41-80CD-73C5CBD2D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2CA1E11-109B-8F45-95CA-FE3349CBF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D8A876C-4EA0-744A-BEC7-D21189BA57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1640CA-4122-CC4F-A99D-FEBBD625CE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023656-5DAB-9244-9981-C489DD93EE7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DBC1BF-584D-FE4B-992F-538F89A071CE}" type="datetime8">
              <a:rPr lang="en-GB" smtClean="0"/>
              <a:t>08/02/2021 17: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2980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large text)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78D3200-2479-0B46-840C-F1CF4DA777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CBC731C-682B-904E-A9DA-F41C34745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48D90A-7108-864A-B81A-ED7B0B9A7E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766437-3B1E-D34E-87DA-7BD38BD601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6A6355-229F-644E-8DF2-E9BF99A320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546013-5885-5549-B3FC-7917D33D8A52}" type="datetime8">
              <a:rPr lang="en-GB" smtClean="0"/>
              <a:t>08/02/2021 17: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594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large text) (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94E845-0CA1-2443-A045-12080128E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5" cy="684053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B9A7C5A-A4E5-084B-874F-1EBE27C1A2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5AEA2BA-177C-E64B-9837-AABF6BC3D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9AB210-B4BE-3745-A764-C8A3F4B799A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78FAEE-F4E9-0142-8675-03E847BB064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D1C34E-E31F-A342-A8F8-B80FAE2399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549B9A-C2C2-5E44-B7A4-0454029ABE34}" type="datetime8">
              <a:rPr lang="en-GB" smtClean="0"/>
              <a:t>08/02/2021 17: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5249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text)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5B44951-02CE-404B-AF0F-AF015BE216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016000"/>
            <a:ext cx="6480000" cy="324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58775" y="2376000"/>
            <a:ext cx="6480000" cy="1620000"/>
          </a:xfrm>
        </p:spPr>
        <p:txBody>
          <a:bodyPr/>
          <a:lstStyle>
            <a:lvl1pPr>
              <a:lnSpc>
                <a:spcPct val="100000"/>
              </a:lnSpc>
              <a:defRPr sz="24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D8447239-4152-6A49-BAF1-40CFBC712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3FB640-48C0-FC43-83C8-425617B372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50BBC-5E59-3442-9F27-0265C1780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DDA4A6-E8B3-2E4C-8A28-6591D11A82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9B515E-C7B9-B649-80AD-C85073D465B7}" type="datetime8">
              <a:rPr lang="en-GB" smtClean="0"/>
              <a:t>08/02/2021 17: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115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8DFE-CFFC-0B49-81C8-88E92473B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016000"/>
            <a:ext cx="11520000" cy="2700000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3200" b="1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DB4D85-0A02-8543-9160-78A1DEC9DB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934659-489A-114F-A446-886EB5E3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506F30-EEB5-3748-B36E-E63A94E9E8C8}" type="datetime8">
              <a:rPr lang="en-GB" smtClean="0"/>
              <a:t>08/02/2021 17:19</a:t>
            </a:fld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61822B-4A7D-5843-9315-1B2402B04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592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E79229F-E4F2-2C46-A797-0DA293D70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F1F03D-C4F0-AF4D-AFFF-609C4FF4D6D3}"/>
              </a:ext>
            </a:extLst>
          </p:cNvPr>
          <p:cNvSpPr txBox="1"/>
          <p:nvPr userDrawn="1"/>
        </p:nvSpPr>
        <p:spPr>
          <a:xfrm>
            <a:off x="11613823" y="64856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500" dirty="0" err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F7D163-90BB-984D-8414-8F6CC3676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1B4166-45F0-DA42-B193-E60E5144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F42AB2C-E8B8-4B42-AD9C-2D3F18E974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2066C9A-3A41-1B44-93FE-861B8A9F5FAF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38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(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0000" y="201295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E6BEA8B-4829-A743-B35D-07BAABCEB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915E6A-12FB-A34C-A8CB-3CFDAF3C1DB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D79FD8-7803-2D4C-886D-C75EF739025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5C0C07E-04C7-C74A-88C5-EFB7A78F13F0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1602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59A605-90EE-4F65-B949-E8973F569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6134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8" imgW="424" imgH="424" progId="TCLayout.ActiveDocument.1">
                  <p:embed/>
                </p:oleObj>
              </mc:Choice>
              <mc:Fallback>
                <p:oleObj name="think-cell Slide" r:id="rId28" imgW="424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59A605-90EE-4F65-B949-E8973F569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557EE9-E9D6-4221-82A5-A232AF67CB58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828000"/>
            <a:ext cx="4680000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2016000"/>
            <a:ext cx="4680000" cy="36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71540" y="6318000"/>
            <a:ext cx="7056384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 b="0" i="0">
                <a:solidFill>
                  <a:schemeClr val="accent1"/>
                </a:solidFill>
                <a:latin typeface="BT Font" panose="020B0506020204020204" pitchFamily="34" charset="77"/>
              </a:defRPr>
            </a:lvl1pPr>
          </a:lstStyle>
          <a:p>
            <a:pPr algn="l"/>
            <a:fld id="{0B868178-02AE-42FC-958D-6B8F13B60175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AE9E1D1-80B4-4737-A902-4D72D8F4317B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C39E60E8-B03D-CF46-B400-1768FAAA88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11300" y="6318001"/>
            <a:ext cx="1868364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1000" b="0" i="0" smtClean="0">
                <a:solidFill>
                  <a:schemeClr val="accent1"/>
                </a:solidFill>
                <a:latin typeface="BT Font" panose="020B0506020204020204" pitchFamily="34" charset="77"/>
              </a:defRPr>
            </a:lvl1pPr>
          </a:lstStyle>
          <a:p>
            <a:fld id="{90D222F1-69A6-5842-A2FE-BAB8412F77EB}" type="datetime8">
              <a:rPr lang="en-GB" smtClean="0"/>
              <a:t>08/02/2021 17: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3216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94" r:id="rId3"/>
    <p:sldLayoutId id="2147483651" r:id="rId4"/>
    <p:sldLayoutId id="2147483695" r:id="rId5"/>
    <p:sldLayoutId id="2147483668" r:id="rId6"/>
    <p:sldLayoutId id="2147483674" r:id="rId7"/>
    <p:sldLayoutId id="2147483650" r:id="rId8"/>
    <p:sldLayoutId id="2147483693" r:id="rId9"/>
    <p:sldLayoutId id="2147483652" r:id="rId10"/>
    <p:sldLayoutId id="2147483678" r:id="rId11"/>
    <p:sldLayoutId id="2147483687" r:id="rId12"/>
    <p:sldLayoutId id="2147483679" r:id="rId13"/>
    <p:sldLayoutId id="2147483690" r:id="rId14"/>
    <p:sldLayoutId id="2147483680" r:id="rId15"/>
    <p:sldLayoutId id="2147483681" r:id="rId16"/>
    <p:sldLayoutId id="2147483689" r:id="rId17"/>
    <p:sldLayoutId id="2147483683" r:id="rId18"/>
    <p:sldLayoutId id="2147483691" r:id="rId19"/>
    <p:sldLayoutId id="2147483692" r:id="rId20"/>
    <p:sldLayoutId id="2147483654" r:id="rId21"/>
    <p:sldLayoutId id="2147483655" r:id="rId22"/>
    <p:sldLayoutId id="2147483660" r:id="rId23"/>
  </p:sldLayoutIdLst>
  <p:hf hdr="0"/>
  <p:txStyles>
    <p:titleStyle>
      <a:lvl1pPr algn="l" defTabSz="912114" rtl="0" eaLnBrk="1" latinLnBrk="0" hangingPunct="1">
        <a:spcBef>
          <a:spcPct val="0"/>
        </a:spcBef>
        <a:buNone/>
        <a:defRPr sz="2600" b="1" kern="1200">
          <a:solidFill>
            <a:schemeClr val="accent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Tx/>
        <a:buNone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0" indent="0" algn="l" defTabSz="912114" rtl="0" eaLnBrk="1" latinLnBrk="0" hangingPunct="1">
        <a:lnSpc>
          <a:spcPct val="110000"/>
        </a:lnSpc>
        <a:spcBef>
          <a:spcPts val="0"/>
        </a:spcBef>
        <a:spcAft>
          <a:spcPts val="1950"/>
        </a:spcAft>
        <a:buFont typeface="Arial" panose="020B0604020202020204" pitchFamily="34" charset="0"/>
        <a:buNone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8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–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36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&gt;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54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–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08314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64371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420428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76485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6057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2114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8171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4228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80285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6342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2399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8456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68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84" userDrawn="1">
          <p15:clr>
            <a:srgbClr val="F26B43"/>
          </p15:clr>
        </p15:guide>
        <p15:guide id="4" orient="horz" pos="5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8BE945D1-0941-412B-9E99-DE2171C11583}"/>
              </a:ext>
            </a:extLst>
          </p:cNvPr>
          <p:cNvGrpSpPr/>
          <p:nvPr/>
        </p:nvGrpSpPr>
        <p:grpSpPr>
          <a:xfrm>
            <a:off x="327973" y="4068339"/>
            <a:ext cx="3847623" cy="2777317"/>
            <a:chOff x="2591420" y="1412225"/>
            <a:chExt cx="6624736" cy="5168575"/>
          </a:xfrm>
        </p:grpSpPr>
        <p:pic>
          <p:nvPicPr>
            <p:cNvPr id="49" name="Picture 48" descr="Chart, scatter chart&#10;&#10;Description automatically generated">
              <a:extLst>
                <a:ext uri="{FF2B5EF4-FFF2-40B4-BE49-F238E27FC236}">
                  <a16:creationId xmlns:a16="http://schemas.microsoft.com/office/drawing/2014/main" id="{A593CDD1-2F68-4FC2-B2CB-FD7728700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91420" y="1412225"/>
              <a:ext cx="6624736" cy="5168575"/>
            </a:xfrm>
            <a:prstGeom prst="rect">
              <a:avLst/>
            </a:prstGeom>
          </p:spPr>
        </p:pic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BE378B-076E-401E-81B8-3F3543DC360E}"/>
                </a:ext>
              </a:extLst>
            </p:cNvPr>
            <p:cNvSpPr/>
            <p:nvPr/>
          </p:nvSpPr>
          <p:spPr>
            <a:xfrm>
              <a:off x="3755254" y="2352583"/>
              <a:ext cx="5415379" cy="3018407"/>
            </a:xfrm>
            <a:custGeom>
              <a:avLst/>
              <a:gdLst>
                <a:gd name="connsiteX0" fmla="*/ 0 w 5415379"/>
                <a:gd name="connsiteY0" fmla="*/ 0 h 3018407"/>
                <a:gd name="connsiteX1" fmla="*/ 905523 w 5415379"/>
                <a:gd name="connsiteY1" fmla="*/ 1775534 h 3018407"/>
                <a:gd name="connsiteX2" fmla="*/ 5415379 w 5415379"/>
                <a:gd name="connsiteY2" fmla="*/ 3018407 h 3018407"/>
                <a:gd name="connsiteX3" fmla="*/ 5415379 w 5415379"/>
                <a:gd name="connsiteY3" fmla="*/ 3018407 h 301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5379" h="3018407">
                  <a:moveTo>
                    <a:pt x="0" y="0"/>
                  </a:moveTo>
                  <a:cubicBezTo>
                    <a:pt x="1480" y="636233"/>
                    <a:pt x="2960" y="1272466"/>
                    <a:pt x="905523" y="1775534"/>
                  </a:cubicBezTo>
                  <a:cubicBezTo>
                    <a:pt x="1808086" y="2278602"/>
                    <a:pt x="5415379" y="3018407"/>
                    <a:pt x="5415379" y="3018407"/>
                  </a:cubicBezTo>
                  <a:lnTo>
                    <a:pt x="5415379" y="3018407"/>
                  </a:lnTo>
                </a:path>
              </a:pathLst>
            </a:cu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6" name="Content Placeholder 1">
            <a:extLst>
              <a:ext uri="{FF2B5EF4-FFF2-40B4-BE49-F238E27FC236}">
                <a16:creationId xmlns:a16="http://schemas.microsoft.com/office/drawing/2014/main" id="{9D82A139-9B7D-4804-95E8-26049183A1BD}"/>
              </a:ext>
            </a:extLst>
          </p:cNvPr>
          <p:cNvSpPr txBox="1">
            <a:spLocks/>
          </p:cNvSpPr>
          <p:nvPr/>
        </p:nvSpPr>
        <p:spPr>
          <a:xfrm>
            <a:off x="6119812" y="1413200"/>
            <a:ext cx="5230186" cy="36131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0" indent="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5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8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–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36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&gt;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54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–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08314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4371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0428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6485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789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4C7EF96-8B3A-4E40-A2EE-73CCCA49B0F8}"/>
              </a:ext>
            </a:extLst>
          </p:cNvPr>
          <p:cNvGrpSpPr/>
          <p:nvPr/>
        </p:nvGrpSpPr>
        <p:grpSpPr>
          <a:xfrm>
            <a:off x="6974410" y="-971526"/>
            <a:ext cx="8803969" cy="6948661"/>
            <a:chOff x="8576603" y="1306615"/>
            <a:chExt cx="3782095" cy="2761726"/>
          </a:xfrm>
        </p:grpSpPr>
        <p:pic>
          <p:nvPicPr>
            <p:cNvPr id="12" name="Picture 11" descr="A star in the dark&#10;&#10;Description automatically generated">
              <a:extLst>
                <a:ext uri="{FF2B5EF4-FFF2-40B4-BE49-F238E27FC236}">
                  <a16:creationId xmlns:a16="http://schemas.microsoft.com/office/drawing/2014/main" id="{A3378B39-0D9A-494A-8129-1CE998D860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315863">
              <a:off x="8576603" y="1652652"/>
              <a:ext cx="3782095" cy="2361505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47327F2-AED8-4A34-8054-4D652521B118}"/>
                </a:ext>
              </a:extLst>
            </p:cNvPr>
            <p:cNvSpPr/>
            <p:nvPr/>
          </p:nvSpPr>
          <p:spPr>
            <a:xfrm>
              <a:off x="8932255" y="1306615"/>
              <a:ext cx="2516149" cy="2761726"/>
            </a:xfrm>
            <a:prstGeom prst="rect">
              <a:avLst/>
            </a:prstGeom>
            <a:solidFill>
              <a:schemeClr val="bg1">
                <a:alpha val="8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ECBF53A6-5B6E-433B-8F17-5CF60D176D2F}"/>
              </a:ext>
            </a:extLst>
          </p:cNvPr>
          <p:cNvSpPr txBox="1"/>
          <p:nvPr/>
        </p:nvSpPr>
        <p:spPr>
          <a:xfrm>
            <a:off x="367420" y="827981"/>
            <a:ext cx="3915199" cy="44543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GB" sz="1600" b="1" u="sng" dirty="0"/>
              <a:t>Business problem</a:t>
            </a:r>
            <a:r>
              <a:rPr lang="en-GB" sz="1600" b="1" dirty="0"/>
              <a:t>: </a:t>
            </a:r>
            <a:r>
              <a:rPr lang="en-GB" sz="1300" dirty="0"/>
              <a:t>Business insights into opt outs from EE SMS and MMS campaigns indicate that the exposure to a high density of marketing messages is a key driver of opt outs.</a:t>
            </a:r>
          </a:p>
          <a:p>
            <a:endParaRPr lang="en-GB" sz="1300" dirty="0"/>
          </a:p>
          <a:p>
            <a:r>
              <a:rPr lang="en-GB" sz="1600" b="1" u="sng" dirty="0"/>
              <a:t>Solution</a:t>
            </a:r>
            <a:r>
              <a:rPr lang="en-GB" sz="1600" b="1" dirty="0"/>
              <a:t>: </a:t>
            </a:r>
            <a:r>
              <a:rPr lang="en-GB" sz="1300" dirty="0"/>
              <a:t>By analysing the customers comm history over the previous 60 days, we can predict their tolerance to comms 30 days into the future and calculate a ‘</a:t>
            </a:r>
            <a:r>
              <a:rPr lang="en-GB" sz="1300" b="1" dirty="0"/>
              <a:t>fatigue window</a:t>
            </a:r>
            <a:r>
              <a:rPr lang="en-GB" sz="1300" dirty="0"/>
              <a:t>’ after which a customer becomes ‘</a:t>
            </a:r>
            <a:r>
              <a:rPr lang="en-GB" sz="1300" b="1" dirty="0"/>
              <a:t>eligible</a:t>
            </a:r>
            <a:r>
              <a:rPr lang="en-GB" sz="1300" dirty="0"/>
              <a:t>’ to contact and therefore should be more engaged.</a:t>
            </a:r>
          </a:p>
          <a:p>
            <a:endParaRPr lang="en-GB" sz="1300" dirty="0"/>
          </a:p>
          <a:p>
            <a:r>
              <a:rPr lang="en-GB" sz="1600" b="1" u="sng" dirty="0"/>
              <a:t>Impact</a:t>
            </a:r>
            <a:r>
              <a:rPr lang="en-GB" sz="1600" b="1" dirty="0"/>
              <a:t>: </a:t>
            </a:r>
            <a:r>
              <a:rPr lang="en-GB" sz="1300" dirty="0"/>
              <a:t>Early estimates that </a:t>
            </a:r>
            <a:r>
              <a:rPr lang="en-GB" sz="1300" b="1" dirty="0"/>
              <a:t>fatigued customers</a:t>
            </a:r>
            <a:r>
              <a:rPr lang="en-GB" sz="1300" dirty="0"/>
              <a:t> are over </a:t>
            </a:r>
            <a:r>
              <a:rPr lang="en-GB" sz="1300" b="1" dirty="0"/>
              <a:t>three times more likely to opt out </a:t>
            </a:r>
            <a:r>
              <a:rPr lang="en-GB" sz="1300" dirty="0"/>
              <a:t>than eligible customer, and that Air Traffic Control is required to manage this at risk group.</a:t>
            </a:r>
          </a:p>
          <a:p>
            <a:endParaRPr lang="en-GB" sz="1300" dirty="0"/>
          </a:p>
          <a:p>
            <a:endParaRPr lang="en-GB" sz="1300" dirty="0"/>
          </a:p>
          <a:p>
            <a:endParaRPr lang="en-GB" sz="1300" dirty="0"/>
          </a:p>
          <a:p>
            <a:endParaRPr lang="en-GB" sz="1300" dirty="0"/>
          </a:p>
          <a:p>
            <a:endParaRPr lang="en-GB" sz="1300" dirty="0"/>
          </a:p>
          <a:p>
            <a:endParaRPr lang="en-GB" sz="1300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A1875AA-33BA-4C7D-B28D-3CD1B0272140}"/>
              </a:ext>
            </a:extLst>
          </p:cNvPr>
          <p:cNvSpPr/>
          <p:nvPr/>
        </p:nvSpPr>
        <p:spPr>
          <a:xfrm>
            <a:off x="5671457" y="1185113"/>
            <a:ext cx="2667000" cy="2243887"/>
          </a:xfrm>
          <a:custGeom>
            <a:avLst/>
            <a:gdLst>
              <a:gd name="connsiteX0" fmla="*/ 0 w 2667000"/>
              <a:gd name="connsiteY0" fmla="*/ 2243887 h 2243887"/>
              <a:gd name="connsiteX1" fmla="*/ 195943 w 2667000"/>
              <a:gd name="connsiteY1" fmla="*/ 1514544 h 2243887"/>
              <a:gd name="connsiteX2" fmla="*/ 870857 w 2667000"/>
              <a:gd name="connsiteY2" fmla="*/ 219144 h 2243887"/>
              <a:gd name="connsiteX3" fmla="*/ 2667000 w 2667000"/>
              <a:gd name="connsiteY3" fmla="*/ 12316 h 2243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2243887">
                <a:moveTo>
                  <a:pt x="0" y="2243887"/>
                </a:moveTo>
                <a:cubicBezTo>
                  <a:pt x="25400" y="2047944"/>
                  <a:pt x="50800" y="1852001"/>
                  <a:pt x="195943" y="1514544"/>
                </a:cubicBezTo>
                <a:cubicBezTo>
                  <a:pt x="341086" y="1177087"/>
                  <a:pt x="459014" y="469515"/>
                  <a:pt x="870857" y="219144"/>
                </a:cubicBezTo>
                <a:cubicBezTo>
                  <a:pt x="1282700" y="-31227"/>
                  <a:pt x="1974850" y="-9456"/>
                  <a:pt x="2667000" y="12316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8CFE26-AE41-4ECD-92C7-8D12E5688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942" y="193664"/>
            <a:ext cx="9283261" cy="786909"/>
          </a:xfrm>
        </p:spPr>
        <p:txBody>
          <a:bodyPr/>
          <a:lstStyle/>
          <a:p>
            <a:r>
              <a:rPr lang="en-GB" dirty="0"/>
              <a:t>ATC: Marketing Fatigue Model insight teaser</a:t>
            </a:r>
            <a:br>
              <a:rPr lang="en-GB" dirty="0"/>
            </a:br>
            <a:r>
              <a:rPr lang="en-GB" sz="1600" dirty="0"/>
              <a:t>Please note that this model is under development and insights may be subject to change</a:t>
            </a:r>
            <a:endParaRPr lang="en-GB" b="0" dirty="0"/>
          </a:p>
        </p:txBody>
      </p:sp>
      <p:pic>
        <p:nvPicPr>
          <p:cNvPr id="20" name="Picture 19" descr="Chart&#10;&#10;Description automatically generated">
            <a:extLst>
              <a:ext uri="{FF2B5EF4-FFF2-40B4-BE49-F238E27FC236}">
                <a16:creationId xmlns:a16="http://schemas.microsoft.com/office/drawing/2014/main" id="{314F673C-1663-4C9F-ADD8-BA4782DBEC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3628" y="4568330"/>
            <a:ext cx="7667253" cy="2308323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0134669-C351-4B4A-9DA9-78B75F4122B9}"/>
              </a:ext>
            </a:extLst>
          </p:cNvPr>
          <p:cNvSpPr/>
          <p:nvPr/>
        </p:nvSpPr>
        <p:spPr>
          <a:xfrm>
            <a:off x="2502770" y="4255586"/>
            <a:ext cx="156082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1) Customer’s with shorter breaks between comms are more likely to opt ou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CC68242-55C0-47AB-A235-8FC6B9E506A7}"/>
              </a:ext>
            </a:extLst>
          </p:cNvPr>
          <p:cNvSpPr/>
          <p:nvPr/>
        </p:nvSpPr>
        <p:spPr>
          <a:xfrm>
            <a:off x="1367284" y="6661209"/>
            <a:ext cx="2016224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GB" sz="900" dirty="0">
                <a:latin typeface="Selawik" panose="020B0604020202020204" pitchFamily="34" charset="0"/>
              </a:rPr>
              <a:t>Days since last comm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A0B30E0-E828-4B61-8322-DFD20EAC2524}"/>
              </a:ext>
            </a:extLst>
          </p:cNvPr>
          <p:cNvSpPr/>
          <p:nvPr/>
        </p:nvSpPr>
        <p:spPr>
          <a:xfrm rot="16200000">
            <a:off x="-856112" y="5203426"/>
            <a:ext cx="2685671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GB" sz="1050" dirty="0">
                <a:latin typeface="Selawik" panose="020B0604020202020204" pitchFamily="34" charset="0"/>
              </a:rPr>
              <a:t>Shap value </a:t>
            </a:r>
          </a:p>
          <a:p>
            <a:pPr algn="ctr"/>
            <a:r>
              <a:rPr lang="en-GB" sz="1050" dirty="0">
                <a:latin typeface="Selawik" panose="020B0604020202020204" pitchFamily="34" charset="0"/>
              </a:rPr>
              <a:t>(indicating likelihood of opting opt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63FB1C-1F1D-4A47-B7ED-8B9874933F3C}"/>
              </a:ext>
            </a:extLst>
          </p:cNvPr>
          <p:cNvSpPr/>
          <p:nvPr/>
        </p:nvSpPr>
        <p:spPr>
          <a:xfrm>
            <a:off x="6419385" y="4811076"/>
            <a:ext cx="561534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000" b="1" dirty="0"/>
              <a:t>None</a:t>
            </a:r>
            <a:r>
              <a:rPr lang="en-GB" sz="1000" dirty="0"/>
              <a:t> – customers who are not an opt out risk and are available to be contacted at any tim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b="1" dirty="0"/>
              <a:t>Low</a:t>
            </a:r>
            <a:r>
              <a:rPr lang="en-GB" sz="1000" dirty="0"/>
              <a:t> – customers whose fatigue decays to nominal levels within 2 day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b="1" dirty="0"/>
              <a:t>High</a:t>
            </a:r>
            <a:r>
              <a:rPr lang="en-GB" sz="1000" dirty="0"/>
              <a:t> – customers whose fatigue decays to nominal levels between 2 and 29 day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b="1" dirty="0"/>
              <a:t>Max</a:t>
            </a:r>
            <a:r>
              <a:rPr lang="en-GB" sz="1000" dirty="0"/>
              <a:t> – customers whose fatigue remains high for greater that 30 days</a:t>
            </a:r>
          </a:p>
        </p:txBody>
      </p:sp>
      <p:pic>
        <p:nvPicPr>
          <p:cNvPr id="28" name="Picture 27" descr="Chart, line chart&#10;&#10;Description automatically generated">
            <a:extLst>
              <a:ext uri="{FF2B5EF4-FFF2-40B4-BE49-F238E27FC236}">
                <a16:creationId xmlns:a16="http://schemas.microsoft.com/office/drawing/2014/main" id="{11E0856F-8B02-42AC-B44C-5588147E04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620" y="827981"/>
            <a:ext cx="7682331" cy="3888432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CC11E74E-E1BF-459D-BC00-EC053E41EFAB}"/>
              </a:ext>
            </a:extLst>
          </p:cNvPr>
          <p:cNvSpPr/>
          <p:nvPr/>
        </p:nvSpPr>
        <p:spPr>
          <a:xfrm>
            <a:off x="5006572" y="875183"/>
            <a:ext cx="7028161" cy="2505606"/>
          </a:xfrm>
          <a:prstGeom prst="rect">
            <a:avLst/>
          </a:prstGeom>
          <a:solidFill>
            <a:srgbClr val="FF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5203FF0-BED4-4AC0-BB99-C40E3C5ADF12}"/>
              </a:ext>
            </a:extLst>
          </p:cNvPr>
          <p:cNvSpPr/>
          <p:nvPr/>
        </p:nvSpPr>
        <p:spPr>
          <a:xfrm>
            <a:off x="5006572" y="3380789"/>
            <a:ext cx="7028161" cy="903576"/>
          </a:xfrm>
          <a:prstGeom prst="rect">
            <a:avLst/>
          </a:prstGeom>
          <a:solidFill>
            <a:srgbClr val="00B05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08251F-B429-44F3-B351-A7742E3199E0}"/>
              </a:ext>
            </a:extLst>
          </p:cNvPr>
          <p:cNvSpPr/>
          <p:nvPr/>
        </p:nvSpPr>
        <p:spPr>
          <a:xfrm>
            <a:off x="7343948" y="902311"/>
            <a:ext cx="469078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2) A customer’s probability of opting out is observed to ‘</a:t>
            </a:r>
            <a:r>
              <a:rPr lang="en-GB" sz="1000" b="1" dirty="0"/>
              <a:t>decay</a:t>
            </a:r>
            <a:r>
              <a:rPr lang="en-GB" sz="1000" dirty="0"/>
              <a:t>’ at different rates as they shift from </a:t>
            </a:r>
            <a:r>
              <a:rPr lang="en-GB" sz="1000" b="1" dirty="0"/>
              <a:t>‘fatigued’ </a:t>
            </a:r>
            <a:r>
              <a:rPr lang="en-GB" sz="1000" dirty="0"/>
              <a:t>to</a:t>
            </a:r>
            <a:r>
              <a:rPr lang="en-GB" sz="1000" b="1" dirty="0"/>
              <a:t> ‘eligible’ states</a:t>
            </a:r>
            <a:r>
              <a:rPr lang="en-GB" sz="1000" dirty="0"/>
              <a:t>, as defined by a business-set threshold. Eligible customers are available to receive comms but fatigued customers should be rested. </a:t>
            </a:r>
          </a:p>
          <a:p>
            <a:endParaRPr lang="en-GB" sz="1000" dirty="0"/>
          </a:p>
          <a:p>
            <a:endParaRPr lang="en-GB" sz="10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CE54254-F921-4A35-B293-4D74C529EE5F}"/>
              </a:ext>
            </a:extLst>
          </p:cNvPr>
          <p:cNvSpPr/>
          <p:nvPr/>
        </p:nvSpPr>
        <p:spPr>
          <a:xfrm>
            <a:off x="11300625" y="3132237"/>
            <a:ext cx="108388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b="1" dirty="0"/>
              <a:t>FATIGUE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80A1825-BB86-48D9-9BED-B0B462E642E5}"/>
              </a:ext>
            </a:extLst>
          </p:cNvPr>
          <p:cNvSpPr/>
          <p:nvPr/>
        </p:nvSpPr>
        <p:spPr>
          <a:xfrm>
            <a:off x="11304142" y="3394496"/>
            <a:ext cx="126589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b="1" dirty="0"/>
              <a:t>ELIGIBL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B25985B-FC4C-48E1-AC3D-0E23B601C327}"/>
              </a:ext>
            </a:extLst>
          </p:cNvPr>
          <p:cNvSpPr/>
          <p:nvPr/>
        </p:nvSpPr>
        <p:spPr>
          <a:xfrm>
            <a:off x="8021112" y="6292346"/>
            <a:ext cx="111632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latin typeface="Selawik" panose="020B0604020202020204" pitchFamily="34" charset="0"/>
              </a:rPr>
              <a:t>Fatigue </a:t>
            </a:r>
          </a:p>
          <a:p>
            <a:pPr algn="ctr"/>
            <a:r>
              <a:rPr lang="en-GB" sz="1200" dirty="0">
                <a:latin typeface="Selawik" panose="020B0604020202020204" pitchFamily="34" charset="0"/>
              </a:rPr>
              <a:t>segment</a:t>
            </a:r>
          </a:p>
        </p:txBody>
      </p:sp>
    </p:spTree>
    <p:extLst>
      <p:ext uri="{BB962C8B-B14F-4D97-AF65-F5344CB8AC3E}">
        <p14:creationId xmlns:p14="http://schemas.microsoft.com/office/powerpoint/2010/main" val="1337199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vQUClzhIQrCi5C5fJTVw"/>
</p:tagLst>
</file>

<file path=ppt/theme/theme1.xml><?xml version="1.0" encoding="utf-8"?>
<a:theme xmlns:a="http://schemas.openxmlformats.org/drawingml/2006/main" name="BT_ppt_widescreen_mountain">
  <a:themeElements>
    <a:clrScheme name="BT">
      <a:dk1>
        <a:srgbClr val="000000"/>
      </a:dk1>
      <a:lt1>
        <a:srgbClr val="FFFFFF"/>
      </a:lt1>
      <a:dk2>
        <a:srgbClr val="000000"/>
      </a:dk2>
      <a:lt2>
        <a:srgbClr val="3C3C3B"/>
      </a:lt2>
      <a:accent1>
        <a:srgbClr val="5514B3"/>
      </a:accent1>
      <a:accent2>
        <a:srgbClr val="FF6EFF"/>
      </a:accent2>
      <a:accent3>
        <a:srgbClr val="00A0D6"/>
      </a:accent3>
      <a:accent4>
        <a:srgbClr val="000000"/>
      </a:accent4>
      <a:accent5>
        <a:srgbClr val="9D9D9D"/>
      </a:accent5>
      <a:accent6>
        <a:srgbClr val="DADADA"/>
      </a:accent6>
      <a:hlink>
        <a:srgbClr val="5514B3"/>
      </a:hlink>
      <a:folHlink>
        <a:srgbClr val="FF6E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b" anchorCtr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277D4E4-0793-2644-BEE0-B380F1ADEE3A}" vid="{91636561-9C67-1647-A078-D3DFF980CB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gs xmlns="d1df45bb-e021-4f5b-8ce4-870514ced40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B1DC40A086B0498C0AC3F4D2002A79" ma:contentTypeVersion="13" ma:contentTypeDescription="Create a new document." ma:contentTypeScope="" ma:versionID="7f95a46cae1ff974c715989a5dc3c898">
  <xsd:schema xmlns:xsd="http://www.w3.org/2001/XMLSchema" xmlns:xs="http://www.w3.org/2001/XMLSchema" xmlns:p="http://schemas.microsoft.com/office/2006/metadata/properties" xmlns:ns2="d1df45bb-e021-4f5b-8ce4-870514ced405" xmlns:ns3="160e18d6-2e02-43d8-9908-2a96660a7755" targetNamespace="http://schemas.microsoft.com/office/2006/metadata/properties" ma:root="true" ma:fieldsID="f6a1069c2e52cbcb2d53aa3bbcd050bf" ns2:_="" ns3:_="">
    <xsd:import namespace="d1df45bb-e021-4f5b-8ce4-870514ced405"/>
    <xsd:import namespace="160e18d6-2e02-43d8-9908-2a96660a77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df45bb-e021-4f5b-8ce4-870514ced4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Tags" ma:index="20" nillable="true" ma:displayName="Tags" ma:description="Content tags -- helpful in search?" ma:internalName="Tag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0e18d6-2e02-43d8-9908-2a96660a775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2B0A74-AE43-4A01-9AC6-5FF5B3F788EE}">
  <ds:schemaRefs>
    <ds:schemaRef ds:uri="http://schemas.microsoft.com/office/2006/metadata/properties"/>
    <ds:schemaRef ds:uri="http://schemas.microsoft.com/office/infopath/2007/PartnerControls"/>
    <ds:schemaRef ds:uri="d1df45bb-e021-4f5b-8ce4-870514ced405"/>
  </ds:schemaRefs>
</ds:datastoreItem>
</file>

<file path=customXml/itemProps2.xml><?xml version="1.0" encoding="utf-8"?>
<ds:datastoreItem xmlns:ds="http://schemas.openxmlformats.org/officeDocument/2006/customXml" ds:itemID="{CB7E2AF8-728B-475E-A679-57198543E0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479D484-D00B-4C2E-82C7-AC95397024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df45bb-e021-4f5b-8ce4-870514ced405"/>
    <ds:schemaRef ds:uri="160e18d6-2e02-43d8-9908-2a96660a77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T Powerpoint Template</Template>
  <TotalTime>78327</TotalTime>
  <Words>279</Words>
  <Application>Microsoft Office PowerPoint</Application>
  <PresentationFormat>Custom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BT Font</vt:lpstr>
      <vt:lpstr>BT Font Light</vt:lpstr>
      <vt:lpstr>Calibri</vt:lpstr>
      <vt:lpstr>Century Gothic</vt:lpstr>
      <vt:lpstr>Selawik</vt:lpstr>
      <vt:lpstr>BT_ppt_widescreen_mountain</vt:lpstr>
      <vt:lpstr>think-cell Slide</vt:lpstr>
      <vt:lpstr>ATC: Marketing Fatigue Model insight teaser Please note that this model is under development and insights may be subject to chan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Qauder,M,Mehwish,SID R</dc:creator>
  <cp:lastModifiedBy>Rumble,D,Damian,SCJ R</cp:lastModifiedBy>
  <cp:revision>183</cp:revision>
  <dcterms:created xsi:type="dcterms:W3CDTF">2019-10-10T14:35:16Z</dcterms:created>
  <dcterms:modified xsi:type="dcterms:W3CDTF">2021-02-09T13:0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B1DC40A086B0498C0AC3F4D2002A79</vt:lpwstr>
  </property>
</Properties>
</file>